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496300" cy="1384995"/>
          </a:xfrm>
        </p:spPr>
        <p:txBody>
          <a:bodyPr/>
          <a:lstStyle/>
          <a:p>
            <a:r>
              <a:rPr lang="pt-BR" dirty="0"/>
              <a:t>Proteja a eficiência do equipamento, cancelando o risco de vibração do codificador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Realocação do codificado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, </a:t>
            </a:r>
            <a:r>
              <a:rPr lang="en-GB" altLang="fr-FR" sz="800" dirty="0" err="1">
                <a:solidFill>
                  <a:srgbClr val="000000"/>
                </a:solidFill>
              </a:rPr>
              <a:t>Manutenção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206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O codificador é realocado da área central da roda de sopro para o eixo de acionamento do motoredutor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Conteúdo da solução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Novo codificador com trem de engrenagens e suporte específico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Novo link elétrico na união elétrica rotativ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100" dirty="0"/>
              <a:t>Cancele uma possível leitura incorreta do codificador que poderia levar a erros de sincronização do PLC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100" dirty="0"/>
              <a:t>Aumente a eficiência evitando paradas de produção</a:t>
            </a:r>
            <a:endParaRPr lang="en-GB" altLang="fr-FR" sz="1100" dirty="0"/>
          </a:p>
        </p:txBody>
      </p:sp>
      <p:pic>
        <p:nvPicPr>
          <p:cNvPr id="16" name="Image 11">
            <a:extLst>
              <a:ext uri="{FF2B5EF4-FFF2-40B4-BE49-F238E27FC236}">
                <a16:creationId xmlns:a16="http://schemas.microsoft.com/office/drawing/2014/main" id="{81C81F2B-3E97-4AC9-BD3F-2ED98B33B6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98" y="3319219"/>
            <a:ext cx="3420782" cy="2123057"/>
          </a:xfrm>
          <a:prstGeom prst="rect">
            <a:avLst/>
          </a:prstGeom>
        </p:spPr>
      </p:pic>
      <p:pic>
        <p:nvPicPr>
          <p:cNvPr id="17" name="Image 5">
            <a:extLst>
              <a:ext uri="{FF2B5EF4-FFF2-40B4-BE49-F238E27FC236}">
                <a16:creationId xmlns:a16="http://schemas.microsoft.com/office/drawing/2014/main" id="{01488AF3-A343-4912-BCE6-EB0C716AE4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684" y="3726236"/>
            <a:ext cx="2155851" cy="2039935"/>
          </a:xfrm>
          <a:prstGeom prst="rect">
            <a:avLst/>
          </a:prstGeom>
        </p:spPr>
      </p:pic>
      <p:pic>
        <p:nvPicPr>
          <p:cNvPr id="18" name="Image 9">
            <a:extLst>
              <a:ext uri="{FF2B5EF4-FFF2-40B4-BE49-F238E27FC236}">
                <a16:creationId xmlns:a16="http://schemas.microsoft.com/office/drawing/2014/main" id="{F97C3AF2-BFFF-412D-BA85-DF19B89C22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2814279" y="3822957"/>
            <a:ext cx="1993758" cy="1384370"/>
          </a:xfrm>
          <a:prstGeom prst="rect">
            <a:avLst/>
          </a:prstGeom>
        </p:spPr>
      </p:pic>
      <p:pic>
        <p:nvPicPr>
          <p:cNvPr id="22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85D8DC0F-E843-4A20-A7EF-FCCAF4578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93" y="3309556"/>
            <a:ext cx="833360" cy="83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Image 12">
            <a:extLst>
              <a:ext uri="{FF2B5EF4-FFF2-40B4-BE49-F238E27FC236}">
                <a16:creationId xmlns:a16="http://schemas.microsoft.com/office/drawing/2014/main" id="{C3F5078C-B89D-4EF8-9874-B43E846FDF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5815" y="4314592"/>
            <a:ext cx="1058897" cy="1197429"/>
          </a:xfrm>
          <a:prstGeom prst="rect">
            <a:avLst/>
          </a:prstGeom>
        </p:spPr>
      </p:pic>
      <p:cxnSp>
        <p:nvCxnSpPr>
          <p:cNvPr id="24" name="Connecteur droit avec flèche 16">
            <a:extLst>
              <a:ext uri="{FF2B5EF4-FFF2-40B4-BE49-F238E27FC236}">
                <a16:creationId xmlns:a16="http://schemas.microsoft.com/office/drawing/2014/main" id="{395C9868-F160-4731-B6C1-994641742897}"/>
              </a:ext>
            </a:extLst>
          </p:cNvPr>
          <p:cNvCxnSpPr/>
          <p:nvPr/>
        </p:nvCxnSpPr>
        <p:spPr>
          <a:xfrm flipH="1" flipV="1">
            <a:off x="6435634" y="4293326"/>
            <a:ext cx="864566" cy="4528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73</TotalTime>
  <Words>96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Proteja a eficiência do equipamento, cancelando o risco de vibração do codific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1-12T13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